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4"/>
    <p:sldMasterId id="2147483733" r:id="rId5"/>
    <p:sldMasterId id="2147483763" r:id="rId6"/>
    <p:sldMasterId id="2147483816" r:id="rId7"/>
  </p:sldMasterIdLst>
  <p:notesMasterIdLst>
    <p:notesMasterId r:id="rId11"/>
  </p:notesMasterIdLst>
  <p:sldIdLst>
    <p:sldId id="275" r:id="rId8"/>
    <p:sldId id="2147479751" r:id="rId9"/>
    <p:sldId id="2147479750" r:id="rId1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5CA239-F4B9-31FB-FB44-EF16666F2754}" name="MEILHAN Anne" initials="MA" userId="S::anne.meilhan@somfy.com::ff8e5100-396f-4519-9bf2-060bd9216942" providerId="AD"/>
  <p188:author id="{30C23F4F-BB59-EA6E-D686-4CC034324E62}" name="BELLEVERGUE Veronique" initials="BV" userId="S::veronique.bellevergue@somfy.com::430427cb-b574-4a8a-8701-809d639c8691" providerId="AD"/>
  <p188:author id="{FBBCF78E-E152-4F8C-5039-3FB8C0B42179}" name="WESTERMANN Marc" initials="WM" userId="S::marc.westermann@somfy.com::1ed1c63c-33d8-4452-af81-a22725a88a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4D5E"/>
    <a:srgbClr val="CCC4BD"/>
    <a:srgbClr val="F1EBE1"/>
    <a:srgbClr val="ECECEC"/>
    <a:srgbClr val="25485A"/>
    <a:srgbClr val="9E0001"/>
    <a:srgbClr val="25484A"/>
    <a:srgbClr val="2548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6A1D54-7087-4050-8D38-34D46AFEF715}" v="63" dt="2025-06-27T10:53:20.6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yl jasny 2 — Ak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Styl jasny 2 — Ak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84E427A-3D55-4303-BF80-6455036E1DE7}" styleName="Styl z motywem 1 — Ak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yl z motywem 1 — Ak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A107856-5554-42FB-B03E-39F5DBC370BA}" styleName="Styl pośredni 4 — Ak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Styl pośredni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75DCB02-9BB8-47FD-8907-85C794F793BA}" styleName="Styl z motywem 1 — Ak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Styl z motywem 1 — Ak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RNCIR, Jan" userId="96250372-41ff-46b8-9b8f-d08717b190e8" providerId="ADAL" clId="{616A1D54-7087-4050-8D38-34D46AFEF715}"/>
    <pc:docChg chg="undo custSel modSld">
      <pc:chgData name="HRNCIR, Jan" userId="96250372-41ff-46b8-9b8f-d08717b190e8" providerId="ADAL" clId="{616A1D54-7087-4050-8D38-34D46AFEF715}" dt="2025-06-27T11:14:41.054" v="1864" actId="20577"/>
      <pc:docMkLst>
        <pc:docMk/>
      </pc:docMkLst>
      <pc:sldChg chg="modSp mod">
        <pc:chgData name="HRNCIR, Jan" userId="96250372-41ff-46b8-9b8f-d08717b190e8" providerId="ADAL" clId="{616A1D54-7087-4050-8D38-34D46AFEF715}" dt="2025-06-27T10:53:54.724" v="1856" actId="20577"/>
        <pc:sldMkLst>
          <pc:docMk/>
          <pc:sldMk cId="799403357" sldId="275"/>
        </pc:sldMkLst>
        <pc:spChg chg="mod">
          <ac:chgData name="HRNCIR, Jan" userId="96250372-41ff-46b8-9b8f-d08717b190e8" providerId="ADAL" clId="{616A1D54-7087-4050-8D38-34D46AFEF715}" dt="2025-06-27T10:53:54.724" v="1856" actId="20577"/>
          <ac:spMkLst>
            <pc:docMk/>
            <pc:sldMk cId="799403357" sldId="275"/>
            <ac:spMk id="2" creationId="{A2318350-DA3D-B124-4C0C-AC4DDEAD53BF}"/>
          </ac:spMkLst>
        </pc:spChg>
      </pc:sldChg>
      <pc:sldChg chg="addSp delSp modSp mod">
        <pc:chgData name="HRNCIR, Jan" userId="96250372-41ff-46b8-9b8f-d08717b190e8" providerId="ADAL" clId="{616A1D54-7087-4050-8D38-34D46AFEF715}" dt="2025-06-27T11:14:41.054" v="1864" actId="20577"/>
        <pc:sldMkLst>
          <pc:docMk/>
          <pc:sldMk cId="3406067243" sldId="2147479750"/>
        </pc:sldMkLst>
        <pc:spChg chg="add mod">
          <ac:chgData name="HRNCIR, Jan" userId="96250372-41ff-46b8-9b8f-d08717b190e8" providerId="ADAL" clId="{616A1D54-7087-4050-8D38-34D46AFEF715}" dt="2025-06-27T11:14:41.054" v="1864" actId="20577"/>
          <ac:spMkLst>
            <pc:docMk/>
            <pc:sldMk cId="3406067243" sldId="2147479750"/>
            <ac:spMk id="2" creationId="{13862FA1-35E5-5414-6B0F-D270DEBCDB8D}"/>
          </ac:spMkLst>
        </pc:spChg>
        <pc:spChg chg="del mod">
          <ac:chgData name="HRNCIR, Jan" userId="96250372-41ff-46b8-9b8f-d08717b190e8" providerId="ADAL" clId="{616A1D54-7087-4050-8D38-34D46AFEF715}" dt="2025-06-27T08:43:33.556" v="1445" actId="478"/>
          <ac:spMkLst>
            <pc:docMk/>
            <pc:sldMk cId="3406067243" sldId="2147479750"/>
            <ac:spMk id="3" creationId="{4FB3E667-76A0-5BE3-B2B8-36DCDFC5713F}"/>
          </ac:spMkLst>
        </pc:spChg>
        <pc:spChg chg="add del mod">
          <ac:chgData name="HRNCIR, Jan" userId="96250372-41ff-46b8-9b8f-d08717b190e8" providerId="ADAL" clId="{616A1D54-7087-4050-8D38-34D46AFEF715}" dt="2025-06-27T10:01:33.189" v="1458" actId="478"/>
          <ac:spMkLst>
            <pc:docMk/>
            <pc:sldMk cId="3406067243" sldId="2147479750"/>
            <ac:spMk id="5" creationId="{AC5C922D-CEB5-AA91-9FF7-C3D94C3D1BF4}"/>
          </ac:spMkLst>
        </pc:spChg>
        <pc:spChg chg="add del mod">
          <ac:chgData name="HRNCIR, Jan" userId="96250372-41ff-46b8-9b8f-d08717b190e8" providerId="ADAL" clId="{616A1D54-7087-4050-8D38-34D46AFEF715}" dt="2025-06-27T10:53:34.539" v="1835" actId="478"/>
          <ac:spMkLst>
            <pc:docMk/>
            <pc:sldMk cId="3406067243" sldId="2147479750"/>
            <ac:spMk id="9" creationId="{77FEEB9A-EECD-816D-8380-3E585AD0C8D9}"/>
          </ac:spMkLst>
        </pc:spChg>
        <pc:spChg chg="del mod">
          <ac:chgData name="HRNCIR, Jan" userId="96250372-41ff-46b8-9b8f-d08717b190e8" providerId="ADAL" clId="{616A1D54-7087-4050-8D38-34D46AFEF715}" dt="2025-06-27T10:01:18.542" v="1455" actId="478"/>
          <ac:spMkLst>
            <pc:docMk/>
            <pc:sldMk cId="3406067243" sldId="2147479750"/>
            <ac:spMk id="10" creationId="{6CFA546D-CE72-965C-6CC6-FF90266BE7F1}"/>
          </ac:spMkLst>
        </pc:spChg>
        <pc:graphicFrameChg chg="add mod modGraphic">
          <ac:chgData name="HRNCIR, Jan" userId="96250372-41ff-46b8-9b8f-d08717b190e8" providerId="ADAL" clId="{616A1D54-7087-4050-8D38-34D46AFEF715}" dt="2025-06-27T10:53:39.842" v="1836" actId="1076"/>
          <ac:graphicFrameMkLst>
            <pc:docMk/>
            <pc:sldMk cId="3406067243" sldId="2147479750"/>
            <ac:graphicFrameMk id="3" creationId="{4E65AEC4-469F-DD6C-B759-7405A00F2FDA}"/>
          </ac:graphicFrameMkLst>
        </pc:graphicFrameChg>
        <pc:graphicFrameChg chg="add del mod modGraphic">
          <ac:chgData name="HRNCIR, Jan" userId="96250372-41ff-46b8-9b8f-d08717b190e8" providerId="ADAL" clId="{616A1D54-7087-4050-8D38-34D46AFEF715}" dt="2025-06-27T09:26:52.523" v="1449" actId="478"/>
          <ac:graphicFrameMkLst>
            <pc:docMk/>
            <pc:sldMk cId="3406067243" sldId="2147479750"/>
            <ac:graphicFrameMk id="6" creationId="{DE7CC81D-4933-68A7-6CAA-20806CD0F163}"/>
          </ac:graphicFrameMkLst>
        </pc:graphicFrameChg>
        <pc:graphicFrameChg chg="add del mod modGraphic">
          <ac:chgData name="HRNCIR, Jan" userId="96250372-41ff-46b8-9b8f-d08717b190e8" providerId="ADAL" clId="{616A1D54-7087-4050-8D38-34D46AFEF715}" dt="2025-06-27T10:11:36.300" v="1800" actId="478"/>
          <ac:graphicFrameMkLst>
            <pc:docMk/>
            <pc:sldMk cId="3406067243" sldId="2147479750"/>
            <ac:graphicFrameMk id="7" creationId="{56FB184F-97BA-2A2C-E180-DE36CC0DC78A}"/>
          </ac:graphicFrameMkLst>
        </pc:graphicFrameChg>
        <pc:graphicFrameChg chg="del mod modGraphic">
          <ac:chgData name="HRNCIR, Jan" userId="96250372-41ff-46b8-9b8f-d08717b190e8" providerId="ADAL" clId="{616A1D54-7087-4050-8D38-34D46AFEF715}" dt="2025-06-27T08:43:09.011" v="1433" actId="478"/>
          <ac:graphicFrameMkLst>
            <pc:docMk/>
            <pc:sldMk cId="3406067243" sldId="2147479750"/>
            <ac:graphicFrameMk id="8" creationId="{751B2DD1-F3E7-25DB-A379-B62989B423A5}"/>
          </ac:graphicFrameMkLst>
        </pc:graphicFrameChg>
        <pc:graphicFrameChg chg="add del mod modGraphic">
          <ac:chgData name="HRNCIR, Jan" userId="96250372-41ff-46b8-9b8f-d08717b190e8" providerId="ADAL" clId="{616A1D54-7087-4050-8D38-34D46AFEF715}" dt="2025-06-27T10:12:33.694" v="1805" actId="478"/>
          <ac:graphicFrameMkLst>
            <pc:docMk/>
            <pc:sldMk cId="3406067243" sldId="2147479750"/>
            <ac:graphicFrameMk id="11" creationId="{884D13B7-9CB9-AB6C-6FFA-EA91D3B5012B}"/>
          </ac:graphicFrameMkLst>
        </pc:graphicFrameChg>
        <pc:graphicFrameChg chg="add del mod modGraphic">
          <ac:chgData name="HRNCIR, Jan" userId="96250372-41ff-46b8-9b8f-d08717b190e8" providerId="ADAL" clId="{616A1D54-7087-4050-8D38-34D46AFEF715}" dt="2025-06-27T10:50:14.689" v="1811" actId="478"/>
          <ac:graphicFrameMkLst>
            <pc:docMk/>
            <pc:sldMk cId="3406067243" sldId="2147479750"/>
            <ac:graphicFrameMk id="12" creationId="{E534A221-0E4F-FA83-0D3F-18D336C16088}"/>
          </ac:graphicFrameMkLst>
        </pc:graphicFrameChg>
      </pc:sldChg>
      <pc:sldChg chg="addSp delSp modSp mod">
        <pc:chgData name="HRNCIR, Jan" userId="96250372-41ff-46b8-9b8f-d08717b190e8" providerId="ADAL" clId="{616A1D54-7087-4050-8D38-34D46AFEF715}" dt="2025-06-27T11:14:35.669" v="1861" actId="20577"/>
        <pc:sldMkLst>
          <pc:docMk/>
          <pc:sldMk cId="3271596141" sldId="2147479751"/>
        </pc:sldMkLst>
        <pc:spChg chg="add del mod">
          <ac:chgData name="HRNCIR, Jan" userId="96250372-41ff-46b8-9b8f-d08717b190e8" providerId="ADAL" clId="{616A1D54-7087-4050-8D38-34D46AFEF715}" dt="2025-06-26T13:50:03.392" v="296" actId="478"/>
          <ac:spMkLst>
            <pc:docMk/>
            <pc:sldMk cId="3271596141" sldId="2147479751"/>
            <ac:spMk id="2" creationId="{19F241A2-C3FB-491C-BD6C-31600A39FFFB}"/>
          </ac:spMkLst>
        </pc:spChg>
        <pc:spChg chg="mod ord">
          <ac:chgData name="HRNCIR, Jan" userId="96250372-41ff-46b8-9b8f-d08717b190e8" providerId="ADAL" clId="{616A1D54-7087-4050-8D38-34D46AFEF715}" dt="2025-06-27T08:35:40.538" v="1424" actId="167"/>
          <ac:spMkLst>
            <pc:docMk/>
            <pc:sldMk cId="3271596141" sldId="2147479751"/>
            <ac:spMk id="3" creationId="{D13FCE3E-9F18-ECA5-3458-0F7291A7AF47}"/>
          </ac:spMkLst>
        </pc:spChg>
        <pc:spChg chg="mod">
          <ac:chgData name="HRNCIR, Jan" userId="96250372-41ff-46b8-9b8f-d08717b190e8" providerId="ADAL" clId="{616A1D54-7087-4050-8D38-34D46AFEF715}" dt="2025-06-27T11:14:35.669" v="1861" actId="20577"/>
          <ac:spMkLst>
            <pc:docMk/>
            <pc:sldMk cId="3271596141" sldId="2147479751"/>
            <ac:spMk id="6" creationId="{6727DECC-F34A-42B0-7C29-3C5C789F1DFC}"/>
          </ac:spMkLst>
        </pc:spChg>
        <pc:spChg chg="mod">
          <ac:chgData name="HRNCIR, Jan" userId="96250372-41ff-46b8-9b8f-d08717b190e8" providerId="ADAL" clId="{616A1D54-7087-4050-8D38-34D46AFEF715}" dt="2025-06-27T10:03:43.189" v="1490" actId="1076"/>
          <ac:spMkLst>
            <pc:docMk/>
            <pc:sldMk cId="3271596141" sldId="2147479751"/>
            <ac:spMk id="8" creationId="{DD55CD80-05C6-71C5-8C0D-241F78C62A8F}"/>
          </ac:spMkLst>
        </pc:spChg>
        <pc:spChg chg="del">
          <ac:chgData name="HRNCIR, Jan" userId="96250372-41ff-46b8-9b8f-d08717b190e8" providerId="ADAL" clId="{616A1D54-7087-4050-8D38-34D46AFEF715}" dt="2025-06-26T13:49:12.229" v="272" actId="478"/>
          <ac:spMkLst>
            <pc:docMk/>
            <pc:sldMk cId="3271596141" sldId="2147479751"/>
            <ac:spMk id="9" creationId="{466B03BE-36E4-DA3D-2FB9-A6F7991C03AE}"/>
          </ac:spMkLst>
        </pc:spChg>
        <pc:spChg chg="mod">
          <ac:chgData name="HRNCIR, Jan" userId="96250372-41ff-46b8-9b8f-d08717b190e8" providerId="ADAL" clId="{616A1D54-7087-4050-8D38-34D46AFEF715}" dt="2025-06-27T08:36:05.972" v="1429" actId="6549"/>
          <ac:spMkLst>
            <pc:docMk/>
            <pc:sldMk cId="3271596141" sldId="2147479751"/>
            <ac:spMk id="10" creationId="{3593A586-8AF1-B2FB-EB17-96EDB760472E}"/>
          </ac:spMkLst>
        </pc:spChg>
        <pc:spChg chg="del mod">
          <ac:chgData name="HRNCIR, Jan" userId="96250372-41ff-46b8-9b8f-d08717b190e8" providerId="ADAL" clId="{616A1D54-7087-4050-8D38-34D46AFEF715}" dt="2025-06-26T13:49:13.702" v="274" actId="478"/>
          <ac:spMkLst>
            <pc:docMk/>
            <pc:sldMk cId="3271596141" sldId="2147479751"/>
            <ac:spMk id="11" creationId="{802815CB-7727-CD8F-893F-785620921651}"/>
          </ac:spMkLst>
        </pc:spChg>
        <pc:spChg chg="mod">
          <ac:chgData name="HRNCIR, Jan" userId="96250372-41ff-46b8-9b8f-d08717b190e8" providerId="ADAL" clId="{616A1D54-7087-4050-8D38-34D46AFEF715}" dt="2025-06-27T08:35:44.836" v="1425" actId="1076"/>
          <ac:spMkLst>
            <pc:docMk/>
            <pc:sldMk cId="3271596141" sldId="2147479751"/>
            <ac:spMk id="21" creationId="{4A68D322-6688-0D9D-C8BA-1BAB68C1D32A}"/>
          </ac:spMkLst>
        </pc:spChg>
        <pc:spChg chg="mod">
          <ac:chgData name="HRNCIR, Jan" userId="96250372-41ff-46b8-9b8f-d08717b190e8" providerId="ADAL" clId="{616A1D54-7087-4050-8D38-34D46AFEF715}" dt="2025-06-26T14:04:25.518" v="386" actId="122"/>
          <ac:spMkLst>
            <pc:docMk/>
            <pc:sldMk cId="3271596141" sldId="2147479751"/>
            <ac:spMk id="23" creationId="{B0C475B9-092E-CB39-7A23-023A1A0194C5}"/>
          </ac:spMkLst>
        </pc:spChg>
        <pc:spChg chg="del">
          <ac:chgData name="HRNCIR, Jan" userId="96250372-41ff-46b8-9b8f-d08717b190e8" providerId="ADAL" clId="{616A1D54-7087-4050-8D38-34D46AFEF715}" dt="2025-06-26T13:47:15.249" v="217" actId="478"/>
          <ac:spMkLst>
            <pc:docMk/>
            <pc:sldMk cId="3271596141" sldId="2147479751"/>
            <ac:spMk id="28" creationId="{D558E6F1-3378-509F-F820-45082A224AD7}"/>
          </ac:spMkLst>
        </pc:spChg>
        <pc:spChg chg="del">
          <ac:chgData name="HRNCIR, Jan" userId="96250372-41ff-46b8-9b8f-d08717b190e8" providerId="ADAL" clId="{616A1D54-7087-4050-8D38-34D46AFEF715}" dt="2025-06-26T13:49:07.040" v="266" actId="478"/>
          <ac:spMkLst>
            <pc:docMk/>
            <pc:sldMk cId="3271596141" sldId="2147479751"/>
            <ac:spMk id="30" creationId="{82F90BD5-1876-05C5-1119-2180984C4A25}"/>
          </ac:spMkLst>
        </pc:spChg>
        <pc:spChg chg="mod">
          <ac:chgData name="HRNCIR, Jan" userId="96250372-41ff-46b8-9b8f-d08717b190e8" providerId="ADAL" clId="{616A1D54-7087-4050-8D38-34D46AFEF715}" dt="2025-06-27T08:33:11.828" v="1094" actId="1076"/>
          <ac:spMkLst>
            <pc:docMk/>
            <pc:sldMk cId="3271596141" sldId="2147479751"/>
            <ac:spMk id="32" creationId="{E100D769-F0DC-C6EB-24E1-AF2CCDE65865}"/>
          </ac:spMkLst>
        </pc:spChg>
        <pc:spChg chg="del">
          <ac:chgData name="HRNCIR, Jan" userId="96250372-41ff-46b8-9b8f-d08717b190e8" providerId="ADAL" clId="{616A1D54-7087-4050-8D38-34D46AFEF715}" dt="2025-06-26T13:47:47.333" v="239" actId="478"/>
          <ac:spMkLst>
            <pc:docMk/>
            <pc:sldMk cId="3271596141" sldId="2147479751"/>
            <ac:spMk id="33" creationId="{F5B28C59-B86A-919C-C214-0C14FE12F296}"/>
          </ac:spMkLst>
        </pc:spChg>
        <pc:spChg chg="mod">
          <ac:chgData name="HRNCIR, Jan" userId="96250372-41ff-46b8-9b8f-d08717b190e8" providerId="ADAL" clId="{616A1D54-7087-4050-8D38-34D46AFEF715}" dt="2025-06-26T14:16:49.114" v="540" actId="1076"/>
          <ac:spMkLst>
            <pc:docMk/>
            <pc:sldMk cId="3271596141" sldId="2147479751"/>
            <ac:spMk id="34" creationId="{4BB8AAF3-19D5-1301-7520-58142EA9F5DF}"/>
          </ac:spMkLst>
        </pc:spChg>
        <pc:spChg chg="del">
          <ac:chgData name="HRNCIR, Jan" userId="96250372-41ff-46b8-9b8f-d08717b190e8" providerId="ADAL" clId="{616A1D54-7087-4050-8D38-34D46AFEF715}" dt="2025-06-26T13:49:11.395" v="271" actId="478"/>
          <ac:spMkLst>
            <pc:docMk/>
            <pc:sldMk cId="3271596141" sldId="2147479751"/>
            <ac:spMk id="35" creationId="{44270EB4-4A28-9CB1-EC0E-C1CD55F5387F}"/>
          </ac:spMkLst>
        </pc:spChg>
        <pc:spChg chg="del mod">
          <ac:chgData name="HRNCIR, Jan" userId="96250372-41ff-46b8-9b8f-d08717b190e8" providerId="ADAL" clId="{616A1D54-7087-4050-8D38-34D46AFEF715}" dt="2025-06-26T13:49:09.707" v="270" actId="478"/>
          <ac:spMkLst>
            <pc:docMk/>
            <pc:sldMk cId="3271596141" sldId="2147479751"/>
            <ac:spMk id="36" creationId="{C3B4B803-4009-FBAD-2F55-0F32938C4B8D}"/>
          </ac:spMkLst>
        </pc:spChg>
        <pc:spChg chg="del">
          <ac:chgData name="HRNCIR, Jan" userId="96250372-41ff-46b8-9b8f-d08717b190e8" providerId="ADAL" clId="{616A1D54-7087-4050-8D38-34D46AFEF715}" dt="2025-06-26T13:49:16.467" v="277" actId="478"/>
          <ac:spMkLst>
            <pc:docMk/>
            <pc:sldMk cId="3271596141" sldId="2147479751"/>
            <ac:spMk id="40" creationId="{6DAAFDDD-D10C-64CF-8EF1-A7A347AE5AD1}"/>
          </ac:spMkLst>
        </pc:spChg>
        <pc:spChg chg="del mod">
          <ac:chgData name="HRNCIR, Jan" userId="96250372-41ff-46b8-9b8f-d08717b190e8" providerId="ADAL" clId="{616A1D54-7087-4050-8D38-34D46AFEF715}" dt="2025-06-26T13:49:17.782" v="279" actId="478"/>
          <ac:spMkLst>
            <pc:docMk/>
            <pc:sldMk cId="3271596141" sldId="2147479751"/>
            <ac:spMk id="41" creationId="{43C2B961-5CE6-0175-81C2-425BDBA6B7A6}"/>
          </ac:spMkLst>
        </pc:spChg>
        <pc:spChg chg="del">
          <ac:chgData name="HRNCIR, Jan" userId="96250372-41ff-46b8-9b8f-d08717b190e8" providerId="ADAL" clId="{616A1D54-7087-4050-8D38-34D46AFEF715}" dt="2025-06-26T13:49:14.467" v="275" actId="478"/>
          <ac:spMkLst>
            <pc:docMk/>
            <pc:sldMk cId="3271596141" sldId="2147479751"/>
            <ac:spMk id="123" creationId="{15966677-3DB8-9DC2-B671-3AA07C1FB444}"/>
          </ac:spMkLst>
        </pc:spChg>
        <pc:spChg chg="mod">
          <ac:chgData name="HRNCIR, Jan" userId="96250372-41ff-46b8-9b8f-d08717b190e8" providerId="ADAL" clId="{616A1D54-7087-4050-8D38-34D46AFEF715}" dt="2025-06-27T08:41:46.478" v="1431"/>
          <ac:spMkLst>
            <pc:docMk/>
            <pc:sldMk cId="3271596141" sldId="2147479751"/>
            <ac:spMk id="197" creationId="{082B2104-CEC5-FD7F-D754-15BEE4A35DB9}"/>
          </ac:spMkLst>
        </pc:spChg>
        <pc:graphicFrameChg chg="add del mod">
          <ac:chgData name="HRNCIR, Jan" userId="96250372-41ff-46b8-9b8f-d08717b190e8" providerId="ADAL" clId="{616A1D54-7087-4050-8D38-34D46AFEF715}" dt="2025-06-26T13:39:30.252" v="129" actId="478"/>
          <ac:graphicFrameMkLst>
            <pc:docMk/>
            <pc:sldMk cId="3271596141" sldId="2147479751"/>
            <ac:graphicFrameMk id="5" creationId="{6538E2B4-22AD-3EF4-BE06-4D7C61B34F92}"/>
          </ac:graphicFrameMkLst>
        </pc:graphicFrameChg>
        <pc:picChg chg="add mod">
          <ac:chgData name="HRNCIR, Jan" userId="96250372-41ff-46b8-9b8f-d08717b190e8" providerId="ADAL" clId="{616A1D54-7087-4050-8D38-34D46AFEF715}" dt="2025-06-27T10:54:05.423" v="1857" actId="1035"/>
          <ac:picMkLst>
            <pc:docMk/>
            <pc:sldMk cId="3271596141" sldId="2147479751"/>
            <ac:picMk id="7" creationId="{92DC4733-C525-9536-3A74-E2C1E3B38AC1}"/>
          </ac:picMkLst>
        </pc:picChg>
        <pc:picChg chg="add del mod">
          <ac:chgData name="HRNCIR, Jan" userId="96250372-41ff-46b8-9b8f-d08717b190e8" providerId="ADAL" clId="{616A1D54-7087-4050-8D38-34D46AFEF715}" dt="2025-06-26T13:49:58.302" v="292" actId="478"/>
          <ac:picMkLst>
            <pc:docMk/>
            <pc:sldMk cId="3271596141" sldId="2147479751"/>
            <ac:picMk id="7" creationId="{C18E898B-C52C-D12A-151C-11560ADD2E90}"/>
          </ac:picMkLst>
        </pc:picChg>
        <pc:picChg chg="add del mod">
          <ac:chgData name="HRNCIR, Jan" userId="96250372-41ff-46b8-9b8f-d08717b190e8" providerId="ADAL" clId="{616A1D54-7087-4050-8D38-34D46AFEF715}" dt="2025-06-27T10:03:27.948" v="1489" actId="1035"/>
          <ac:picMkLst>
            <pc:docMk/>
            <pc:sldMk cId="3271596141" sldId="2147479751"/>
            <ac:picMk id="11" creationId="{3945889F-3005-1409-640A-E0B6310D73BB}"/>
          </ac:picMkLst>
        </pc:picChg>
        <pc:picChg chg="add del mod">
          <ac:chgData name="HRNCIR, Jan" userId="96250372-41ff-46b8-9b8f-d08717b190e8" providerId="ADAL" clId="{616A1D54-7087-4050-8D38-34D46AFEF715}" dt="2025-06-26T13:49:57.213" v="291" actId="478"/>
          <ac:picMkLst>
            <pc:docMk/>
            <pc:sldMk cId="3271596141" sldId="2147479751"/>
            <ac:picMk id="12" creationId="{BF255769-3C9E-E5CE-21D5-D3E1B341835C}"/>
          </ac:picMkLst>
        </pc:picChg>
        <pc:picChg chg="add del mod">
          <ac:chgData name="HRNCIR, Jan" userId="96250372-41ff-46b8-9b8f-d08717b190e8" providerId="ADAL" clId="{616A1D54-7087-4050-8D38-34D46AFEF715}" dt="2025-06-27T08:32:15.970" v="1082" actId="22"/>
          <ac:picMkLst>
            <pc:docMk/>
            <pc:sldMk cId="3271596141" sldId="2147479751"/>
            <ac:picMk id="13" creationId="{C0A05A47-D0F4-F882-208C-8F185D6413DA}"/>
          </ac:picMkLst>
        </pc:picChg>
        <pc:picChg chg="add del mod">
          <ac:chgData name="HRNCIR, Jan" userId="96250372-41ff-46b8-9b8f-d08717b190e8" providerId="ADAL" clId="{616A1D54-7087-4050-8D38-34D46AFEF715}" dt="2025-06-26T13:51:24.024" v="313" actId="478"/>
          <ac:picMkLst>
            <pc:docMk/>
            <pc:sldMk cId="3271596141" sldId="2147479751"/>
            <ac:picMk id="13" creationId="{F9D1A3CA-8838-141E-7382-EF65B7DDD66A}"/>
          </ac:picMkLst>
        </pc:picChg>
        <pc:picChg chg="add mod">
          <ac:chgData name="HRNCIR, Jan" userId="96250372-41ff-46b8-9b8f-d08717b190e8" providerId="ADAL" clId="{616A1D54-7087-4050-8D38-34D46AFEF715}" dt="2025-06-26T13:51:08.787" v="310" actId="14100"/>
          <ac:picMkLst>
            <pc:docMk/>
            <pc:sldMk cId="3271596141" sldId="2147479751"/>
            <ac:picMk id="15" creationId="{83E040CB-F0DA-E7EF-4B2F-1E2E1D8DFE74}"/>
          </ac:picMkLst>
        </pc:picChg>
        <pc:picChg chg="add mod ord">
          <ac:chgData name="HRNCIR, Jan" userId="96250372-41ff-46b8-9b8f-d08717b190e8" providerId="ADAL" clId="{616A1D54-7087-4050-8D38-34D46AFEF715}" dt="2025-06-27T08:35:38.339" v="1423" actId="167"/>
          <ac:picMkLst>
            <pc:docMk/>
            <pc:sldMk cId="3271596141" sldId="2147479751"/>
            <ac:picMk id="16" creationId="{6E5879B9-7B07-A086-8678-C3B5D1D39484}"/>
          </ac:picMkLst>
        </pc:picChg>
        <pc:picChg chg="del">
          <ac:chgData name="HRNCIR, Jan" userId="96250372-41ff-46b8-9b8f-d08717b190e8" providerId="ADAL" clId="{616A1D54-7087-4050-8D38-34D46AFEF715}" dt="2025-06-26T13:38:33.731" v="118" actId="478"/>
          <ac:picMkLst>
            <pc:docMk/>
            <pc:sldMk cId="3271596141" sldId="2147479751"/>
            <ac:picMk id="17" creationId="{6F760AB0-81B3-7C65-F82F-88832E978A76}"/>
          </ac:picMkLst>
        </pc:picChg>
        <pc:picChg chg="add mod">
          <ac:chgData name="HRNCIR, Jan" userId="96250372-41ff-46b8-9b8f-d08717b190e8" providerId="ADAL" clId="{616A1D54-7087-4050-8D38-34D46AFEF715}" dt="2025-06-27T10:04:02.428" v="1494" actId="1036"/>
          <ac:picMkLst>
            <pc:docMk/>
            <pc:sldMk cId="3271596141" sldId="2147479751"/>
            <ac:picMk id="18" creationId="{F3A76153-583F-B8E1-795D-D38DF9311159}"/>
          </ac:picMkLst>
        </pc:picChg>
        <pc:picChg chg="add mod ord">
          <ac:chgData name="HRNCIR, Jan" userId="96250372-41ff-46b8-9b8f-d08717b190e8" providerId="ADAL" clId="{616A1D54-7087-4050-8D38-34D46AFEF715}" dt="2025-06-27T08:35:35.415" v="1422" actId="167"/>
          <ac:picMkLst>
            <pc:docMk/>
            <pc:sldMk cId="3271596141" sldId="2147479751"/>
            <ac:picMk id="19" creationId="{C1EE7747-CE72-58F5-2127-1FC89B796560}"/>
          </ac:picMkLst>
        </pc:picChg>
        <pc:picChg chg="add mod">
          <ac:chgData name="HRNCIR, Jan" userId="96250372-41ff-46b8-9b8f-d08717b190e8" providerId="ADAL" clId="{616A1D54-7087-4050-8D38-34D46AFEF715}" dt="2025-06-27T08:30:31.581" v="905" actId="1076"/>
          <ac:picMkLst>
            <pc:docMk/>
            <pc:sldMk cId="3271596141" sldId="2147479751"/>
            <ac:picMk id="20" creationId="{4942A718-AC22-3FAB-C7C8-6AE054850B6D}"/>
          </ac:picMkLst>
        </pc:picChg>
        <pc:picChg chg="add mod">
          <ac:chgData name="HRNCIR, Jan" userId="96250372-41ff-46b8-9b8f-d08717b190e8" providerId="ADAL" clId="{616A1D54-7087-4050-8D38-34D46AFEF715}" dt="2025-06-27T10:54:08.922" v="1858" actId="1035"/>
          <ac:picMkLst>
            <pc:docMk/>
            <pc:sldMk cId="3271596141" sldId="2147479751"/>
            <ac:picMk id="24" creationId="{F26F2EEA-84C7-C92D-C4CF-31897958B7EC}"/>
          </ac:picMkLst>
        </pc:picChg>
        <pc:picChg chg="add del mod">
          <ac:chgData name="HRNCIR, Jan" userId="96250372-41ff-46b8-9b8f-d08717b190e8" providerId="ADAL" clId="{616A1D54-7087-4050-8D38-34D46AFEF715}" dt="2025-06-26T13:56:13.186" v="378" actId="478"/>
          <ac:picMkLst>
            <pc:docMk/>
            <pc:sldMk cId="3271596141" sldId="2147479751"/>
            <ac:picMk id="26" creationId="{D0C42AB8-3708-4E53-F973-B50CFEE95C4F}"/>
          </ac:picMkLst>
        </pc:picChg>
        <pc:picChg chg="add mod">
          <ac:chgData name="HRNCIR, Jan" userId="96250372-41ff-46b8-9b8f-d08717b190e8" providerId="ADAL" clId="{616A1D54-7087-4050-8D38-34D46AFEF715}" dt="2025-06-27T10:03:54.760" v="1492" actId="1076"/>
          <ac:picMkLst>
            <pc:docMk/>
            <pc:sldMk cId="3271596141" sldId="2147479751"/>
            <ac:picMk id="29" creationId="{12ED5765-2CCB-E4DF-5BBA-C62FD0ED4EFE}"/>
          </ac:picMkLst>
        </pc:picChg>
        <pc:picChg chg="add mod">
          <ac:chgData name="HRNCIR, Jan" userId="96250372-41ff-46b8-9b8f-d08717b190e8" providerId="ADAL" clId="{616A1D54-7087-4050-8D38-34D46AFEF715}" dt="2025-06-26T14:16:41.901" v="539" actId="1076"/>
          <ac:picMkLst>
            <pc:docMk/>
            <pc:sldMk cId="3271596141" sldId="2147479751"/>
            <ac:picMk id="37" creationId="{58101E9E-EEF2-9762-BBA2-48F655586CE0}"/>
          </ac:picMkLst>
        </pc:picChg>
        <pc:picChg chg="del">
          <ac:chgData name="HRNCIR, Jan" userId="96250372-41ff-46b8-9b8f-d08717b190e8" providerId="ADAL" clId="{616A1D54-7087-4050-8D38-34D46AFEF715}" dt="2025-06-26T13:39:56.408" v="164" actId="478"/>
          <ac:picMkLst>
            <pc:docMk/>
            <pc:sldMk cId="3271596141" sldId="2147479751"/>
            <ac:picMk id="38" creationId="{26F7C575-62DB-348C-6D0A-E0CDDEF4ECA8}"/>
          </ac:picMkLst>
        </pc:picChg>
        <pc:picChg chg="del">
          <ac:chgData name="HRNCIR, Jan" userId="96250372-41ff-46b8-9b8f-d08717b190e8" providerId="ADAL" clId="{616A1D54-7087-4050-8D38-34D46AFEF715}" dt="2025-06-26T13:49:15.098" v="276" actId="478"/>
          <ac:picMkLst>
            <pc:docMk/>
            <pc:sldMk cId="3271596141" sldId="2147479751"/>
            <ac:picMk id="42" creationId="{E79F96C8-EF56-812B-D457-8452D30361D4}"/>
          </ac:picMkLst>
        </pc:picChg>
        <pc:picChg chg="del">
          <ac:chgData name="HRNCIR, Jan" userId="96250372-41ff-46b8-9b8f-d08717b190e8" providerId="ADAL" clId="{616A1D54-7087-4050-8D38-34D46AFEF715}" dt="2025-06-26T13:49:18.929" v="280" actId="478"/>
          <ac:picMkLst>
            <pc:docMk/>
            <pc:sldMk cId="3271596141" sldId="2147479751"/>
            <ac:picMk id="43" creationId="{23241A07-94E6-C3B2-85A7-2A7E4834DF8A}"/>
          </ac:picMkLst>
        </pc:picChg>
        <pc:picChg chg="add mod">
          <ac:chgData name="HRNCIR, Jan" userId="96250372-41ff-46b8-9b8f-d08717b190e8" providerId="ADAL" clId="{616A1D54-7087-4050-8D38-34D46AFEF715}" dt="2025-06-27T08:34:10.276" v="1251" actId="1076"/>
          <ac:picMkLst>
            <pc:docMk/>
            <pc:sldMk cId="3271596141" sldId="2147479751"/>
            <ac:picMk id="44" creationId="{283FAE5D-1097-9BD3-5D2E-246566CF836D}"/>
          </ac:picMkLst>
        </pc:picChg>
        <pc:picChg chg="add mod">
          <ac:chgData name="HRNCIR, Jan" userId="96250372-41ff-46b8-9b8f-d08717b190e8" providerId="ADAL" clId="{616A1D54-7087-4050-8D38-34D46AFEF715}" dt="2025-06-27T08:34:48.324" v="1414" actId="1076"/>
          <ac:picMkLst>
            <pc:docMk/>
            <pc:sldMk cId="3271596141" sldId="2147479751"/>
            <ac:picMk id="46" creationId="{F5B11064-B662-ACD8-644B-A8DA1F7D1663}"/>
          </ac:picMkLst>
        </pc:picChg>
        <pc:picChg chg="add del mod">
          <ac:chgData name="HRNCIR, Jan" userId="96250372-41ff-46b8-9b8f-d08717b190e8" providerId="ADAL" clId="{616A1D54-7087-4050-8D38-34D46AFEF715}" dt="2025-06-26T13:50:04.390" v="297" actId="478"/>
          <ac:picMkLst>
            <pc:docMk/>
            <pc:sldMk cId="3271596141" sldId="2147479751"/>
            <ac:picMk id="1025" creationId="{82BC7B90-5F11-80E6-C92A-3534B3C78924}"/>
          </ac:picMkLst>
        </pc:picChg>
        <pc:picChg chg="del">
          <ac:chgData name="HRNCIR, Jan" userId="96250372-41ff-46b8-9b8f-d08717b190e8" providerId="ADAL" clId="{616A1D54-7087-4050-8D38-34D46AFEF715}" dt="2025-06-26T13:39:55.357" v="162" actId="478"/>
          <ac:picMkLst>
            <pc:docMk/>
            <pc:sldMk cId="3271596141" sldId="2147479751"/>
            <ac:picMk id="1026" creationId="{68301571-D5B4-B01B-ACB8-0BE7EF46A788}"/>
          </ac:picMkLst>
        </pc:picChg>
        <pc:picChg chg="del">
          <ac:chgData name="HRNCIR, Jan" userId="96250372-41ff-46b8-9b8f-d08717b190e8" providerId="ADAL" clId="{616A1D54-7087-4050-8D38-34D46AFEF715}" dt="2025-06-26T13:39:55.891" v="163" actId="478"/>
          <ac:picMkLst>
            <pc:docMk/>
            <pc:sldMk cId="3271596141" sldId="2147479751"/>
            <ac:picMk id="1027" creationId="{8E610B08-BEF7-7EE2-F924-FC564B1621F8}"/>
          </ac:picMkLst>
        </pc:picChg>
        <pc:picChg chg="del">
          <ac:chgData name="HRNCIR, Jan" userId="96250372-41ff-46b8-9b8f-d08717b190e8" providerId="ADAL" clId="{616A1D54-7087-4050-8D38-34D46AFEF715}" dt="2025-06-26T13:39:56.926" v="165" actId="478"/>
          <ac:picMkLst>
            <pc:docMk/>
            <pc:sldMk cId="3271596141" sldId="2147479751"/>
            <ac:picMk id="1028" creationId="{1686331F-22B4-8D4A-1494-46745098EF37}"/>
          </ac:picMkLst>
        </pc:picChg>
        <pc:picChg chg="del">
          <ac:chgData name="HRNCIR, Jan" userId="96250372-41ff-46b8-9b8f-d08717b190e8" providerId="ADAL" clId="{616A1D54-7087-4050-8D38-34D46AFEF715}" dt="2025-06-26T13:39:57.396" v="166" actId="478"/>
          <ac:picMkLst>
            <pc:docMk/>
            <pc:sldMk cId="3271596141" sldId="2147479751"/>
            <ac:picMk id="1029" creationId="{735060FE-734C-B6F6-6899-272A4C175A12}"/>
          </ac:picMkLst>
        </pc:picChg>
        <pc:picChg chg="del">
          <ac:chgData name="HRNCIR, Jan" userId="96250372-41ff-46b8-9b8f-d08717b190e8" providerId="ADAL" clId="{616A1D54-7087-4050-8D38-34D46AFEF715}" dt="2025-06-26T13:39:58.056" v="167" actId="478"/>
          <ac:picMkLst>
            <pc:docMk/>
            <pc:sldMk cId="3271596141" sldId="2147479751"/>
            <ac:picMk id="1030" creationId="{9292B170-391A-8C9C-C4E1-AC5B554EB161}"/>
          </ac:picMkLst>
        </pc:picChg>
        <pc:picChg chg="del">
          <ac:chgData name="HRNCIR, Jan" userId="96250372-41ff-46b8-9b8f-d08717b190e8" providerId="ADAL" clId="{616A1D54-7087-4050-8D38-34D46AFEF715}" dt="2025-06-26T13:49:07.751" v="267" actId="478"/>
          <ac:picMkLst>
            <pc:docMk/>
            <pc:sldMk cId="3271596141" sldId="2147479751"/>
            <ac:picMk id="1034" creationId="{C6E17CFD-D7BA-F0F5-2B96-A2108DC69D49}"/>
          </ac:picMkLst>
        </pc:picChg>
        <pc:picChg chg="del">
          <ac:chgData name="HRNCIR, Jan" userId="96250372-41ff-46b8-9b8f-d08717b190e8" providerId="ADAL" clId="{616A1D54-7087-4050-8D38-34D46AFEF715}" dt="2025-06-26T13:49:08.288" v="268" actId="478"/>
          <ac:picMkLst>
            <pc:docMk/>
            <pc:sldMk cId="3271596141" sldId="2147479751"/>
            <ac:picMk id="1036" creationId="{EC6D36C3-2D17-097D-6BBA-78CBB5D18B1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A9648-C67D-1641-9718-286FC44C8F36}" type="datetimeFigureOut">
              <a:rPr lang="en-GB" smtClean="0"/>
              <a:t>27/06/2025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23D62F-7CA3-B74D-B033-82529AB9C0F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821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3D62F-7CA3-B74D-B033-82529AB9C0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3855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>
              <a:highlight>
                <a:srgbClr val="FFFF00"/>
              </a:highlight>
            </a:endParaRPr>
          </a:p>
          <a:p>
            <a:endParaRPr lang="fr-FR">
              <a:highlight>
                <a:srgbClr val="FFFF00"/>
              </a:highlight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AB9880-5783-4899-9FDC-04A9C879962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504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214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EEBB565-0D5F-A163-B519-39BD3169B0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3999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7255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8515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68277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003754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1267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1126798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63463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68ACBD4-483B-BDB9-8E53-C17EF5B552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545" y="2426677"/>
            <a:ext cx="3262313" cy="3772511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25485A"/>
                </a:solidFill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E969D69-B45D-F96D-5E11-A35E374DEC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545" y="792291"/>
            <a:ext cx="2936482" cy="973879"/>
          </a:xfrm>
        </p:spPr>
        <p:txBody>
          <a:bodyPr bIns="108000">
            <a:no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Modifiez le style du </a:t>
            </a:r>
            <a:r>
              <a:rPr lang="fr-FR" err="1"/>
              <a:t>ti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76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92" y="6360296"/>
            <a:ext cx="39205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3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rgbClr val="25485A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3889A12-6904-A817-264C-3F055299B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57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54B6BB-57EA-C495-6B5D-EF46295E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67463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567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>
            <a:solidFill>
              <a:schemeClr val="accent2"/>
            </a:solidFill>
          </a:ln>
        </p:spPr>
        <p:txBody>
          <a:bodyPr vert="horz" tIns="72000" bIns="72000">
            <a:normAutofit/>
          </a:bodyPr>
          <a:lstStyle>
            <a:lvl1pPr algn="ctr"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7760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6" name="ZoneTexte 5"/>
          <p:cNvSpPr txBox="1"/>
          <p:nvPr userDrawn="1"/>
        </p:nvSpPr>
        <p:spPr>
          <a:xfrm>
            <a:off x="53597" y="312719"/>
            <a:ext cx="312160" cy="410433"/>
          </a:xfrm>
          <a:prstGeom prst="rect">
            <a:avLst/>
          </a:prstGeom>
          <a:noFill/>
        </p:spPr>
        <p:txBody>
          <a:bodyPr wrap="square" tIns="0" rIns="0" bIns="0" rtlCol="0" anchor="t" anchorCtr="0">
            <a:spAutoFit/>
          </a:bodyPr>
          <a:lstStyle/>
          <a:p>
            <a:pPr algn="r"/>
            <a:r>
              <a:rPr lang="fr-FR" sz="2667" b="1">
                <a:solidFill>
                  <a:srgbClr val="E95D0F"/>
                </a:solidFill>
              </a:rPr>
              <a:t>/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486834" y="988485"/>
            <a:ext cx="10104967" cy="386122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" y="5963258"/>
            <a:ext cx="12191999" cy="891525"/>
          </a:xfrm>
          <a:prstGeom prst="rect">
            <a:avLst/>
          </a:prstGeom>
        </p:spPr>
      </p:pic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96051" y="6503533"/>
            <a:ext cx="3860800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467" cap="all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U DOCUMENT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65920" y="6503533"/>
            <a:ext cx="636693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 b="1" cap="all">
                <a:solidFill>
                  <a:srgbClr val="E95D0F"/>
                </a:solidFill>
              </a:defRPr>
            </a:lvl1pPr>
          </a:lstStyle>
          <a:p>
            <a:fld id="{26B38A90-316F-AB4B-99AE-08E46F8057ED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e la date 6"/>
          <p:cNvSpPr>
            <a:spLocks noGrp="1"/>
          </p:cNvSpPr>
          <p:nvPr>
            <p:ph type="dt" sz="half" idx="2"/>
          </p:nvPr>
        </p:nvSpPr>
        <p:spPr>
          <a:xfrm>
            <a:off x="5283200" y="6503532"/>
            <a:ext cx="2844800" cy="250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001C4B"/>
                </a:solidFill>
              </a:defRPr>
            </a:lvl1pPr>
          </a:lstStyle>
          <a:p>
            <a:fld id="{D22DAFA5-4332-564B-9A5F-8B63C19E24E3}" type="datetimeFigureOut">
              <a:rPr lang="fr-FR" smtClean="0"/>
              <a:pPr/>
              <a:t>27/06/20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63340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5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5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1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rgbClr val="FFC000"/>
                </a:solidFill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/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>
                <a:solidFill>
                  <a:srgbClr val="FFC000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1675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5342" y="1320582"/>
            <a:ext cx="5507189" cy="23294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6275342" y="2709237"/>
            <a:ext cx="5507191" cy="107721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pour une image  14"/>
          <p:cNvSpPr>
            <a:spLocks noGrp="1"/>
          </p:cNvSpPr>
          <p:nvPr>
            <p:ph type="pic" sz="quarter" idx="11"/>
          </p:nvPr>
        </p:nvSpPr>
        <p:spPr>
          <a:xfrm>
            <a:off x="409468" y="1053287"/>
            <a:ext cx="5470576" cy="5398408"/>
          </a:xfrm>
        </p:spPr>
        <p:txBody>
          <a:bodyPr wrap="none" anchor="ctr">
            <a:noAutofit/>
          </a:bodyPr>
          <a:lstStyle>
            <a:lvl1pPr algn="ctr">
              <a:defRPr sz="1600" b="0" i="0" cap="none" baseline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865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644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fr-FR"/>
              <a:t>CLIQUEZ ET MODIFIEZ LE TIT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677D4868-0BF2-4E52-AA8E-B884136988A5}"/>
              </a:ext>
            </a:extLst>
          </p:cNvPr>
          <p:cNvCxnSpPr/>
          <p:nvPr userDrawn="1"/>
        </p:nvCxnSpPr>
        <p:spPr>
          <a:xfrm flipH="1">
            <a:off x="0" y="932723"/>
            <a:ext cx="2063552" cy="0"/>
          </a:xfrm>
          <a:prstGeom prst="line">
            <a:avLst/>
          </a:prstGeom>
          <a:ln w="38100">
            <a:solidFill>
              <a:srgbClr val="485B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C6551A9-63F0-4505-80AC-A03A0A65A1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2726" y="725335"/>
            <a:ext cx="4705349" cy="207388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940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746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211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6762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385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737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050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959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296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4670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892EE5D-29F1-B631-BDCF-F8C06D22987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636496" y="1102178"/>
            <a:ext cx="1263421" cy="4653643"/>
          </a:xfrm>
          <a:prstGeom prst="round2Same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txBody>
          <a:bodyPr vert="horz" lIns="91440" tIns="432000" rIns="91440" bIns="7200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Somfy Sans Light" pitchFamily="2" charset="0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7DA399D-45B0-0CEA-A573-3E1B1AAC8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92098"/>
            <a:ext cx="4196444" cy="1263422"/>
          </a:xfrm>
        </p:spPr>
        <p:txBody>
          <a:bodyPr>
            <a:normAutofit/>
          </a:bodyPr>
          <a:lstStyle>
            <a:lvl1pPr>
              <a:defRPr sz="3600">
                <a:solidFill>
                  <a:srgbClr val="25485A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0BA31B-3600-CA67-63C4-4112FC284698}"/>
              </a:ext>
            </a:extLst>
          </p:cNvPr>
          <p:cNvSpPr/>
          <p:nvPr userDrawn="1"/>
        </p:nvSpPr>
        <p:spPr>
          <a:xfrm>
            <a:off x="-182880" y="2463501"/>
            <a:ext cx="182880" cy="181379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963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57840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3915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64212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5962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527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516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927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51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259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34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Pictur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2C6ACC-ECE3-BC92-9E91-A4B8D05D6E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3542" y="2315255"/>
            <a:ext cx="4318489" cy="1653430"/>
          </a:xfrm>
        </p:spPr>
        <p:txBody>
          <a:bodyPr anchor="b">
            <a:norm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01 titre du chapit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D0A4EB0-799A-4E7A-050B-C9A4C60A3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882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5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43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633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09546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68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23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2947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0683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4374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293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F28C8E5-56A6-2BC8-0A20-FBF9A1538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9305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6540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9425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9112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3232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805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64723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05696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83607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45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433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3600" y="0"/>
            <a:ext cx="5267547" cy="6145178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8D9820A8-328A-6189-8EDD-CE60516090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987" y="1505133"/>
            <a:ext cx="45670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93198A0B-FC30-5C11-2D1A-22B4CB705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9988" y="3660655"/>
            <a:ext cx="456705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4352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8986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027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0066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1526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0146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974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465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539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153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982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7CD3411-2B7B-4281-7C8D-241760473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9134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3055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9103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0001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5533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29029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1101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72818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6340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3861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765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haut 3">
            <a:extLst>
              <a:ext uri="{FF2B5EF4-FFF2-40B4-BE49-F238E27FC236}">
                <a16:creationId xmlns:a16="http://schemas.microsoft.com/office/drawing/2014/main" id="{08DA85AC-905A-9833-5330-89EE1361A228}"/>
              </a:ext>
            </a:extLst>
          </p:cNvPr>
          <p:cNvSpPr/>
          <p:nvPr userDrawn="1"/>
        </p:nvSpPr>
        <p:spPr>
          <a:xfrm>
            <a:off x="543599" y="0"/>
            <a:ext cx="5267547" cy="614195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585" y="1470375"/>
            <a:ext cx="4556643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586" y="3625896"/>
            <a:ext cx="4556642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440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3744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430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233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1002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7846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4878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1200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2190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665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1118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437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490940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558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053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6510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8814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3575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416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1799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6291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02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8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8043"/>
            <a:ext cx="10896599" cy="4163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  <p:sp>
        <p:nvSpPr>
          <p:cNvPr id="36" name="Espace réservé du titre 35">
            <a:extLst>
              <a:ext uri="{FF2B5EF4-FFF2-40B4-BE49-F238E27FC236}">
                <a16:creationId xmlns:a16="http://schemas.microsoft.com/office/drawing/2014/main" id="{F5F19FC6-14D0-8387-FE3D-9C988F406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0896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3544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61" r:id="rId4"/>
    <p:sldLayoutId id="2147483668" r:id="rId5"/>
    <p:sldLayoutId id="2147483678" r:id="rId6"/>
    <p:sldLayoutId id="2147483664" r:id="rId7"/>
    <p:sldLayoutId id="2147483665" r:id="rId8"/>
    <p:sldLayoutId id="2147483669" r:id="rId9"/>
    <p:sldLayoutId id="2147483679" r:id="rId10"/>
    <p:sldLayoutId id="2147483660" r:id="rId11"/>
    <p:sldLayoutId id="2147483670" r:id="rId12"/>
    <p:sldLayoutId id="2147483655" r:id="rId13"/>
    <p:sldLayoutId id="2147483654" r:id="rId14"/>
    <p:sldLayoutId id="2147483676" r:id="rId15"/>
    <p:sldLayoutId id="2147483677" r:id="rId16"/>
    <p:sldLayoutId id="2147483708" r:id="rId17"/>
    <p:sldLayoutId id="2147483715" r:id="rId18"/>
    <p:sldLayoutId id="2147483717" r:id="rId19"/>
    <p:sldLayoutId id="2147483720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rgbClr val="25485A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1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706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00228" y="129361"/>
            <a:ext cx="884419" cy="1944845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87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0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9.xml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jpe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12" Type="http://schemas.openxmlformats.org/officeDocument/2006/relationships/image" Target="../media/image21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2318350-DA3D-B124-4C0C-AC4DDEAD5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256" y="2315255"/>
            <a:ext cx="3680224" cy="2227490"/>
          </a:xfrm>
        </p:spPr>
        <p:txBody>
          <a:bodyPr>
            <a:normAutofit/>
          </a:bodyPr>
          <a:lstStyle/>
          <a:p>
            <a:br>
              <a:rPr lang="fr-FR" dirty="0"/>
            </a:br>
            <a:r>
              <a:rPr lang="cs-CZ" dirty="0" err="1"/>
              <a:t>Situo</a:t>
            </a:r>
            <a:r>
              <a:rPr lang="cs-CZ" dirty="0"/>
              <a:t> </a:t>
            </a:r>
            <a:r>
              <a:rPr lang="en-US" dirty="0"/>
              <a:t>II</a:t>
            </a:r>
            <a:r>
              <a:rPr lang="cs-CZ" dirty="0"/>
              <a:t> </a:t>
            </a:r>
            <a:r>
              <a:rPr lang="cs-CZ" dirty="0" err="1"/>
              <a:t>io</a:t>
            </a:r>
            <a:r>
              <a:rPr lang="cs-CZ" dirty="0"/>
              <a:t> </a:t>
            </a:r>
            <a:r>
              <a:rPr lang="en-US" dirty="0"/>
              <a:t>&amp; RTS </a:t>
            </a:r>
            <a:br>
              <a:rPr lang="en-US" dirty="0"/>
            </a:br>
            <a:r>
              <a:rPr lang="cs-CZ" dirty="0" err="1"/>
              <a:t>range</a:t>
            </a:r>
            <a:r>
              <a:rPr lang="cs-CZ" dirty="0"/>
              <a:t> </a:t>
            </a:r>
            <a:r>
              <a:rPr lang="cs-CZ" dirty="0" err="1"/>
              <a:t>simplification</a:t>
            </a:r>
            <a:endParaRPr lang="fr-FR" dirty="0"/>
          </a:p>
        </p:txBody>
      </p:sp>
      <p:pic>
        <p:nvPicPr>
          <p:cNvPr id="6" name="Espace réservé pour une image  5">
            <a:extLst>
              <a:ext uri="{FF2B5EF4-FFF2-40B4-BE49-F238E27FC236}">
                <a16:creationId xmlns:a16="http://schemas.microsoft.com/office/drawing/2014/main" id="{B318AB65-64E6-154D-456F-8EF3AACDFC5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3073" y="0"/>
            <a:ext cx="9548927" cy="6858000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99403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13FCE3E-9F18-ECA5-3458-0F7291A7AF47}"/>
              </a:ext>
            </a:extLst>
          </p:cNvPr>
          <p:cNvSpPr/>
          <p:nvPr/>
        </p:nvSpPr>
        <p:spPr>
          <a:xfrm>
            <a:off x="1418182" y="3749040"/>
            <a:ext cx="10665477" cy="1492387"/>
          </a:xfrm>
          <a:prstGeom prst="roundRect">
            <a:avLst/>
          </a:prstGeom>
          <a:solidFill>
            <a:srgbClr val="F5F1EA"/>
          </a:solidFill>
          <a:ln w="19050">
            <a:solidFill>
              <a:srgbClr val="2548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pic>
        <p:nvPicPr>
          <p:cNvPr id="16" name="Picture 15" descr="A white remote control with a button&#10;&#10;AI-generated content may be incorrect.">
            <a:extLst>
              <a:ext uri="{FF2B5EF4-FFF2-40B4-BE49-F238E27FC236}">
                <a16:creationId xmlns:a16="http://schemas.microsoft.com/office/drawing/2014/main" id="{6E5879B9-7B07-A086-8678-C3B5D1D394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5079" y="3789824"/>
            <a:ext cx="1053000" cy="1404000"/>
          </a:xfrm>
          <a:prstGeom prst="rect">
            <a:avLst/>
          </a:prstGeom>
        </p:spPr>
      </p:pic>
      <p:pic>
        <p:nvPicPr>
          <p:cNvPr id="19" name="Picture 18" descr="A white remote control with a round button&#10;&#10;AI-generated content may be incorrect.">
            <a:extLst>
              <a:ext uri="{FF2B5EF4-FFF2-40B4-BE49-F238E27FC236}">
                <a16:creationId xmlns:a16="http://schemas.microsoft.com/office/drawing/2014/main" id="{C1EE7747-CE72-58F5-2127-1FC89B7965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3517" y="3793619"/>
            <a:ext cx="1053000" cy="1404000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84305D-CDE6-CE46-E3F8-1B8F743E2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37F0C63-9D9F-2642-9BE6-825938832B4F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itchFamily="2" charset="0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Somfy Sans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6727DECC-F34A-42B0-7C29-3C5C789F1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6"/>
            <a:ext cx="11189553" cy="659704"/>
          </a:xfrm>
        </p:spPr>
        <p:txBody>
          <a:bodyPr>
            <a:normAutofit/>
          </a:bodyPr>
          <a:lstStyle/>
          <a:p>
            <a:r>
              <a:rPr lang="cs-CZ" dirty="0" err="1"/>
              <a:t>Situo</a:t>
            </a:r>
            <a:r>
              <a:rPr lang="cs-CZ" dirty="0"/>
              <a:t> II </a:t>
            </a:r>
            <a:r>
              <a:rPr lang="cs-CZ" dirty="0" err="1"/>
              <a:t>io</a:t>
            </a:r>
            <a:r>
              <a:rPr lang="cs-CZ" dirty="0"/>
              <a:t> </a:t>
            </a:r>
            <a:r>
              <a:rPr lang="en-US" dirty="0"/>
              <a:t>&amp; RTS </a:t>
            </a:r>
            <a:r>
              <a:rPr lang="en-US" dirty="0" err="1"/>
              <a:t>coloured</a:t>
            </a:r>
            <a:r>
              <a:rPr lang="en-US" dirty="0"/>
              <a:t> version</a:t>
            </a:r>
            <a:r>
              <a:rPr lang="cs-CZ" dirty="0"/>
              <a:t>s</a:t>
            </a:r>
            <a:r>
              <a:rPr lang="en-US" dirty="0"/>
              <a:t> </a:t>
            </a:r>
            <a:r>
              <a:rPr lang="cs-CZ" dirty="0" err="1"/>
              <a:t>phase</a:t>
            </a:r>
            <a:r>
              <a:rPr lang="cs-CZ" dirty="0"/>
              <a:t> out</a:t>
            </a:r>
            <a:endParaRPr lang="fr-FR" dirty="0"/>
          </a:p>
        </p:txBody>
      </p:sp>
      <p:cxnSp>
        <p:nvCxnSpPr>
          <p:cNvPr id="106" name="Connecteur droit 17">
            <a:extLst>
              <a:ext uri="{FF2B5EF4-FFF2-40B4-BE49-F238E27FC236}">
                <a16:creationId xmlns:a16="http://schemas.microsoft.com/office/drawing/2014/main" id="{2854D052-6DD9-F8C2-76A7-2A67DFE66759}"/>
              </a:ext>
            </a:extLst>
          </p:cNvPr>
          <p:cNvCxnSpPr>
            <a:cxnSpLocks/>
          </p:cNvCxnSpPr>
          <p:nvPr/>
        </p:nvCxnSpPr>
        <p:spPr>
          <a:xfrm>
            <a:off x="11683234" y="1300751"/>
            <a:ext cx="0" cy="1014919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9F241A2-C3FB-491C-BD6C-31600A39FFFB}"/>
              </a:ext>
            </a:extLst>
          </p:cNvPr>
          <p:cNvSpPr/>
          <p:nvPr/>
        </p:nvSpPr>
        <p:spPr>
          <a:xfrm>
            <a:off x="1412284" y="1385717"/>
            <a:ext cx="10671375" cy="1895863"/>
          </a:xfrm>
          <a:prstGeom prst="roundRect">
            <a:avLst/>
          </a:prstGeom>
          <a:ln w="19050">
            <a:solidFill>
              <a:srgbClr val="F5F1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DD55CD80-05C6-71C5-8C0D-241F78C62A8F}"/>
              </a:ext>
            </a:extLst>
          </p:cNvPr>
          <p:cNvSpPr/>
          <p:nvPr/>
        </p:nvSpPr>
        <p:spPr>
          <a:xfrm>
            <a:off x="90846" y="1876448"/>
            <a:ext cx="1190626" cy="914400"/>
          </a:xfrm>
          <a:prstGeom prst="roundRect">
            <a:avLst/>
          </a:prstGeom>
          <a:ln w="19050">
            <a:solidFill>
              <a:srgbClr val="F5F1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itu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II io &amp; RTS phased out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3593A586-8AF1-B2FB-EB17-96EDB760472E}"/>
              </a:ext>
            </a:extLst>
          </p:cNvPr>
          <p:cNvSpPr/>
          <p:nvPr/>
        </p:nvSpPr>
        <p:spPr>
          <a:xfrm>
            <a:off x="80286" y="3888667"/>
            <a:ext cx="1190626" cy="1099919"/>
          </a:xfrm>
          <a:prstGeom prst="roundRect">
            <a:avLst/>
          </a:prstGeom>
          <a:solidFill>
            <a:srgbClr val="F5F1EA"/>
          </a:solidFill>
          <a:ln w="19050">
            <a:solidFill>
              <a:srgbClr val="2548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ituo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II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io &amp; RTS remaining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97" name="ZoneTexte 37">
            <a:extLst>
              <a:ext uri="{FF2B5EF4-FFF2-40B4-BE49-F238E27FC236}">
                <a16:creationId xmlns:a16="http://schemas.microsoft.com/office/drawing/2014/main" id="{082B2104-CEC5-FD7F-D754-15BEE4A35DB9}"/>
              </a:ext>
            </a:extLst>
          </p:cNvPr>
          <p:cNvSpPr txBox="1"/>
          <p:nvPr/>
        </p:nvSpPr>
        <p:spPr>
          <a:xfrm>
            <a:off x="349220" y="5437239"/>
            <a:ext cx="116632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u="none" strike="noStrike" dirty="0">
                <a:solidFill>
                  <a:srgbClr val="474747"/>
                </a:solidFill>
                <a:effectLst/>
                <a:latin typeface="Arial" panose="020B0604020202020204" pitchFamily="34" charset="0"/>
              </a:rPr>
              <a:t>The various color options for the </a:t>
            </a:r>
            <a:r>
              <a:rPr lang="en-US" sz="1800" b="0" i="0" u="none" strike="noStrike" dirty="0" err="1">
                <a:solidFill>
                  <a:srgbClr val="474747"/>
                </a:solidFill>
                <a:effectLst/>
                <a:latin typeface="Arial" panose="020B0604020202020204" pitchFamily="34" charset="0"/>
              </a:rPr>
              <a:t>Situo</a:t>
            </a:r>
            <a:r>
              <a:rPr lang="en-US" sz="1800" b="0" i="0" u="none" strike="noStrike" dirty="0">
                <a:solidFill>
                  <a:srgbClr val="474747"/>
                </a:solidFill>
                <a:effectLst/>
                <a:latin typeface="Arial" panose="020B0604020202020204" pitchFamily="34" charset="0"/>
              </a:rPr>
              <a:t> II series are not in demand on the market. All color options for all versions of the controller together represent 1% of orders. We have therefore decided to simplify our range.</a:t>
            </a:r>
            <a:endParaRPr lang="cs-CZ" sz="1800" b="0" i="0" u="none" strike="noStrike" dirty="0">
              <a:solidFill>
                <a:srgbClr val="474747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68D322-6688-0D9D-C8BA-1BAB68C1D32A}"/>
              </a:ext>
            </a:extLst>
          </p:cNvPr>
          <p:cNvSpPr txBox="1"/>
          <p:nvPr/>
        </p:nvSpPr>
        <p:spPr>
          <a:xfrm>
            <a:off x="6610234" y="4970002"/>
            <a:ext cx="52253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0C475B9-092E-CB39-7A23-023A1A0194C5}"/>
              </a:ext>
            </a:extLst>
          </p:cNvPr>
          <p:cNvSpPr txBox="1"/>
          <p:nvPr/>
        </p:nvSpPr>
        <p:spPr>
          <a:xfrm>
            <a:off x="2337080" y="2875305"/>
            <a:ext cx="15467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ural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ur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00D769-F0DC-C6EB-24E1-AF2CCDE65865}"/>
              </a:ext>
            </a:extLst>
          </p:cNvPr>
          <p:cNvSpPr txBox="1"/>
          <p:nvPr/>
        </p:nvSpPr>
        <p:spPr>
          <a:xfrm>
            <a:off x="6043517" y="2867099"/>
            <a:ext cx="122806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ur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BB8AAF3-19D5-1301-7520-58142EA9F5DF}"/>
              </a:ext>
            </a:extLst>
          </p:cNvPr>
          <p:cNvSpPr txBox="1"/>
          <p:nvPr/>
        </p:nvSpPr>
        <p:spPr>
          <a:xfrm>
            <a:off x="9611323" y="2899440"/>
            <a:ext cx="94620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ctic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ur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 descr="A remote control with buttons and a wooden frame&#10;&#10;AI-generated content may be incorrect.">
            <a:extLst>
              <a:ext uri="{FF2B5EF4-FFF2-40B4-BE49-F238E27FC236}">
                <a16:creationId xmlns:a16="http://schemas.microsoft.com/office/drawing/2014/main" id="{83E040CB-F0DA-E7EF-4B2F-1E2E1D8DFE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4540" y="1479383"/>
            <a:ext cx="1404000" cy="1404000"/>
          </a:xfrm>
          <a:prstGeom prst="rect">
            <a:avLst/>
          </a:prstGeom>
        </p:spPr>
      </p:pic>
      <p:pic>
        <p:nvPicPr>
          <p:cNvPr id="18" name="Picture 17" descr="A white rectangular object with a wooden frame&#10;&#10;AI-generated content may be incorrect.">
            <a:extLst>
              <a:ext uri="{FF2B5EF4-FFF2-40B4-BE49-F238E27FC236}">
                <a16:creationId xmlns:a16="http://schemas.microsoft.com/office/drawing/2014/main" id="{F3A76153-583F-B8E1-795D-D38DF93111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60721" y="1472624"/>
            <a:ext cx="1404000" cy="1404000"/>
          </a:xfrm>
          <a:prstGeom prst="rect">
            <a:avLst/>
          </a:prstGeom>
        </p:spPr>
      </p:pic>
      <p:pic>
        <p:nvPicPr>
          <p:cNvPr id="20" name="Picture 19" descr="A close-up of a remote control&#10;&#10;AI-generated content may be incorrect.">
            <a:extLst>
              <a:ext uri="{FF2B5EF4-FFF2-40B4-BE49-F238E27FC236}">
                <a16:creationId xmlns:a16="http://schemas.microsoft.com/office/drawing/2014/main" id="{4942A718-AC22-3FAB-C7C8-6AE054850B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5771" y="1475591"/>
            <a:ext cx="1404000" cy="1404000"/>
          </a:xfrm>
          <a:prstGeom prst="rect">
            <a:avLst/>
          </a:prstGeom>
        </p:spPr>
      </p:pic>
      <p:pic>
        <p:nvPicPr>
          <p:cNvPr id="24" name="Picture 23" descr="A close-up of a remote control&#10;&#10;AI-generated content may be incorrect.">
            <a:extLst>
              <a:ext uri="{FF2B5EF4-FFF2-40B4-BE49-F238E27FC236}">
                <a16:creationId xmlns:a16="http://schemas.microsoft.com/office/drawing/2014/main" id="{F26F2EEA-84C7-C92D-C4CF-31897958B7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2372" y="1468726"/>
            <a:ext cx="1404000" cy="1404000"/>
          </a:xfrm>
          <a:prstGeom prst="rect">
            <a:avLst/>
          </a:prstGeom>
        </p:spPr>
      </p:pic>
      <p:pic>
        <p:nvPicPr>
          <p:cNvPr id="29" name="Picture 28" descr="A white rectangular object with buttons and buttons&#10;&#10;AI-generated content may be incorrect.">
            <a:extLst>
              <a:ext uri="{FF2B5EF4-FFF2-40B4-BE49-F238E27FC236}">
                <a16:creationId xmlns:a16="http://schemas.microsoft.com/office/drawing/2014/main" id="{12ED5765-2CCB-E4DF-5BBA-C62FD0ED4E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00243" y="1495440"/>
            <a:ext cx="1053000" cy="1404000"/>
          </a:xfrm>
          <a:prstGeom prst="rect">
            <a:avLst/>
          </a:prstGeom>
        </p:spPr>
      </p:pic>
      <p:pic>
        <p:nvPicPr>
          <p:cNvPr id="37" name="Picture 36" descr="A white remote control with buttons&#10;&#10;AI-generated content may be incorrect.">
            <a:extLst>
              <a:ext uri="{FF2B5EF4-FFF2-40B4-BE49-F238E27FC236}">
                <a16:creationId xmlns:a16="http://schemas.microsoft.com/office/drawing/2014/main" id="{58101E9E-EEF2-9762-BBA2-48F655586C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84823" y="1498014"/>
            <a:ext cx="1053000" cy="1404000"/>
          </a:xfrm>
          <a:prstGeom prst="rect">
            <a:avLst/>
          </a:prstGeom>
        </p:spPr>
      </p:pic>
      <p:pic>
        <p:nvPicPr>
          <p:cNvPr id="44" name="Picture 43" descr="A white remote control with arrows and buttons&#10;&#10;AI-generated content may be incorrect.">
            <a:extLst>
              <a:ext uri="{FF2B5EF4-FFF2-40B4-BE49-F238E27FC236}">
                <a16:creationId xmlns:a16="http://schemas.microsoft.com/office/drawing/2014/main" id="{283FAE5D-1097-9BD3-5D2E-246566CF836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80384" y="3793619"/>
            <a:ext cx="763133" cy="1404000"/>
          </a:xfrm>
          <a:prstGeom prst="rect">
            <a:avLst/>
          </a:prstGeom>
        </p:spPr>
      </p:pic>
      <p:pic>
        <p:nvPicPr>
          <p:cNvPr id="46" name="Picture 45" descr="A white remote control with arrows and buttons&#10;&#10;AI-generated content may be incorrect.">
            <a:extLst>
              <a:ext uri="{FF2B5EF4-FFF2-40B4-BE49-F238E27FC236}">
                <a16:creationId xmlns:a16="http://schemas.microsoft.com/office/drawing/2014/main" id="{F5B11064-B662-ACD8-644B-A8DA1F7D166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83741" y="3791343"/>
            <a:ext cx="763133" cy="1404000"/>
          </a:xfrm>
          <a:prstGeom prst="rect">
            <a:avLst/>
          </a:prstGeom>
        </p:spPr>
      </p:pic>
      <p:pic>
        <p:nvPicPr>
          <p:cNvPr id="7" name="Picture 6" descr="A close-up of a remote control&#10;&#10;AI-generated content may be incorrect.">
            <a:extLst>
              <a:ext uri="{FF2B5EF4-FFF2-40B4-BE49-F238E27FC236}">
                <a16:creationId xmlns:a16="http://schemas.microsoft.com/office/drawing/2014/main" id="{92DC4733-C525-9536-3A74-E2C1E3B38AC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37819" y="1470239"/>
            <a:ext cx="1053000" cy="1404000"/>
          </a:xfrm>
          <a:prstGeom prst="rect">
            <a:avLst/>
          </a:prstGeom>
        </p:spPr>
      </p:pic>
      <p:pic>
        <p:nvPicPr>
          <p:cNvPr id="11" name="Picture 10" descr="A close-up of a remote control&#10;&#10;AI-generated content may be incorrect.">
            <a:extLst>
              <a:ext uri="{FF2B5EF4-FFF2-40B4-BE49-F238E27FC236}">
                <a16:creationId xmlns:a16="http://schemas.microsoft.com/office/drawing/2014/main" id="{3945889F-3005-1409-640A-E0B6310D73B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10381" y="1471958"/>
            <a:ext cx="1053000" cy="14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596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5">
            <a:extLst>
              <a:ext uri="{FF2B5EF4-FFF2-40B4-BE49-F238E27FC236}">
                <a16:creationId xmlns:a16="http://schemas.microsoft.com/office/drawing/2014/main" id="{13862FA1-35E5-5414-6B0F-D270DEBCDB8D}"/>
              </a:ext>
            </a:extLst>
          </p:cNvPr>
          <p:cNvSpPr txBox="1">
            <a:spLocks/>
          </p:cNvSpPr>
          <p:nvPr/>
        </p:nvSpPr>
        <p:spPr>
          <a:xfrm>
            <a:off x="457199" y="365126"/>
            <a:ext cx="11189553" cy="6597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rgbClr val="25485A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r>
              <a:rPr lang="cs-CZ" dirty="0" err="1"/>
              <a:t>Situo</a:t>
            </a:r>
            <a:r>
              <a:rPr lang="cs-CZ"/>
              <a:t> II </a:t>
            </a:r>
            <a:r>
              <a:rPr lang="cs-CZ" dirty="0" err="1"/>
              <a:t>io</a:t>
            </a:r>
            <a:r>
              <a:rPr lang="cs-CZ" dirty="0"/>
              <a:t> </a:t>
            </a:r>
            <a:r>
              <a:rPr lang="en-US" dirty="0"/>
              <a:t>&amp; RTS </a:t>
            </a:r>
            <a:r>
              <a:rPr lang="en-US" dirty="0" err="1"/>
              <a:t>coloured</a:t>
            </a:r>
            <a:r>
              <a:rPr lang="en-US" dirty="0"/>
              <a:t> version</a:t>
            </a:r>
            <a:r>
              <a:rPr lang="cs-CZ" dirty="0"/>
              <a:t>s</a:t>
            </a:r>
            <a:r>
              <a:rPr lang="en-US" dirty="0"/>
              <a:t> </a:t>
            </a:r>
            <a:r>
              <a:rPr lang="cs-CZ" dirty="0" err="1"/>
              <a:t>substitution</a:t>
            </a:r>
            <a:r>
              <a:rPr lang="cs-CZ" dirty="0"/>
              <a:t> matrix</a:t>
            </a:r>
            <a:endParaRPr lang="fr-FR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E65AEC4-469F-DD6C-B759-7405A00F2F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5914374"/>
              </p:ext>
            </p:extLst>
          </p:nvPr>
        </p:nvGraphicFramePr>
        <p:xfrm>
          <a:off x="2383535" y="1203019"/>
          <a:ext cx="7424929" cy="50690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8017">
                  <a:extLst>
                    <a:ext uri="{9D8B030D-6E8A-4147-A177-3AD203B41FA5}">
                      <a16:colId xmlns:a16="http://schemas.microsoft.com/office/drawing/2014/main" val="1999107752"/>
                    </a:ext>
                  </a:extLst>
                </a:gridCol>
                <a:gridCol w="2713997">
                  <a:extLst>
                    <a:ext uri="{9D8B030D-6E8A-4147-A177-3AD203B41FA5}">
                      <a16:colId xmlns:a16="http://schemas.microsoft.com/office/drawing/2014/main" val="2435128391"/>
                    </a:ext>
                  </a:extLst>
                </a:gridCol>
                <a:gridCol w="938017">
                  <a:extLst>
                    <a:ext uri="{9D8B030D-6E8A-4147-A177-3AD203B41FA5}">
                      <a16:colId xmlns:a16="http://schemas.microsoft.com/office/drawing/2014/main" val="3327602994"/>
                    </a:ext>
                  </a:extLst>
                </a:gridCol>
                <a:gridCol w="2834898">
                  <a:extLst>
                    <a:ext uri="{9D8B030D-6E8A-4147-A177-3AD203B41FA5}">
                      <a16:colId xmlns:a16="http://schemas.microsoft.com/office/drawing/2014/main" val="207108980"/>
                    </a:ext>
                  </a:extLst>
                </a:gridCol>
              </a:tblGrid>
              <a:tr h="27308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Phased ou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178" marR="8178" marT="817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Substitutio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178" marR="8178" marT="817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6408396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3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1 io Natural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31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1 io Pure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3704653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31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>
                          <a:effectLst/>
                        </a:rPr>
                        <a:t>SITUO 1 io Iron II</a:t>
                      </a:r>
                      <a:endParaRPr lang="it-IT" sz="9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832714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32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1 io Arctic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8310287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33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5 io Natural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32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5 io Pure II 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9825619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7064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5 IO NATURAL II DIY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2775148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7033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5 io Iron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5893644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34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5 io Arctic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4059150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7036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>
                          <a:effectLst/>
                        </a:rPr>
                        <a:t>SITUO 1 Variation io Iron II</a:t>
                      </a:r>
                      <a:endParaRPr lang="it-IT" sz="9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36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1 Variation io Pure II 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0486383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7037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5 Variation A/M io Iron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7036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5 Variation A/M io Pure II 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3339596"/>
                  </a:ext>
                </a:extLst>
              </a:tr>
              <a:tr h="153489"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9074320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40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u="none" strike="noStrike" dirty="0" err="1">
                          <a:effectLst/>
                        </a:rPr>
                        <a:t>Situo</a:t>
                      </a:r>
                      <a:r>
                        <a:rPr lang="fr-FR" sz="900" u="none" strike="noStrike" dirty="0">
                          <a:effectLst/>
                        </a:rPr>
                        <a:t> 1 RTS </a:t>
                      </a:r>
                      <a:r>
                        <a:rPr lang="fr-FR" sz="900" u="none" strike="noStrike" dirty="0" err="1">
                          <a:effectLst/>
                        </a:rPr>
                        <a:t>Iron</a:t>
                      </a:r>
                      <a:r>
                        <a:rPr lang="fr-FR" sz="900" u="none" strike="noStrike" dirty="0">
                          <a:effectLst/>
                        </a:rPr>
                        <a:t> II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403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r>
                        <a:rPr lang="en-US" sz="900" u="none" strike="noStrike" dirty="0">
                          <a:effectLst/>
                        </a:rPr>
                        <a:t>187043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1 RTS Pure II</a:t>
                      </a:r>
                      <a:br>
                        <a:rPr lang="it-IT" sz="900" u="none" strike="noStrike" dirty="0">
                          <a:effectLst/>
                        </a:rPr>
                      </a:br>
                      <a:r>
                        <a:rPr lang="it-IT" sz="900" u="none" strike="noStrike" dirty="0">
                          <a:effectLst/>
                        </a:rPr>
                        <a:t>Situo 1 Soliris RTS Pure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166324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41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err="1">
                          <a:effectLst/>
                        </a:rPr>
                        <a:t>Situo</a:t>
                      </a:r>
                      <a:r>
                        <a:rPr lang="en-US" sz="900" u="none" strike="noStrike" dirty="0">
                          <a:effectLst/>
                        </a:rPr>
                        <a:t> 1 RTS Natural I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8137835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4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err="1">
                          <a:effectLst/>
                        </a:rPr>
                        <a:t>Situo</a:t>
                      </a:r>
                      <a:r>
                        <a:rPr lang="en-US" sz="900" u="none" strike="noStrike" dirty="0">
                          <a:effectLst/>
                        </a:rPr>
                        <a:t> 1 RST Arctic I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0121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42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u="none" strike="noStrike" dirty="0" err="1">
                          <a:effectLst/>
                        </a:rPr>
                        <a:t>Situo</a:t>
                      </a:r>
                      <a:r>
                        <a:rPr lang="fr-FR" sz="900" u="none" strike="noStrike" dirty="0">
                          <a:effectLst/>
                        </a:rPr>
                        <a:t> 5 RTS </a:t>
                      </a:r>
                      <a:r>
                        <a:rPr lang="fr-FR" sz="900" u="none" strike="noStrike" dirty="0" err="1">
                          <a:effectLst/>
                        </a:rPr>
                        <a:t>Iron</a:t>
                      </a:r>
                      <a:r>
                        <a:rPr lang="fr-FR" sz="900" u="none" strike="noStrike" dirty="0">
                          <a:effectLst/>
                        </a:rPr>
                        <a:t> II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419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r>
                        <a:rPr lang="en-US" sz="900" u="none" strike="noStrike" dirty="0">
                          <a:effectLst/>
                        </a:rPr>
                        <a:t>187043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it-IT" sz="900" u="none" strike="noStrike" dirty="0">
                          <a:effectLst/>
                        </a:rPr>
                        <a:t>Situo 5 RTS Pure II</a:t>
                      </a:r>
                      <a:br>
                        <a:rPr lang="it-IT" sz="900" u="none" strike="noStrike" dirty="0">
                          <a:effectLst/>
                        </a:rPr>
                      </a:br>
                      <a:r>
                        <a:rPr lang="it-IT" sz="900" u="none" strike="noStrike" dirty="0">
                          <a:effectLst/>
                        </a:rPr>
                        <a:t>Situo 5 Soliris RTS Pure II</a:t>
                      </a:r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151599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42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err="1">
                          <a:effectLst/>
                        </a:rPr>
                        <a:t>Situo</a:t>
                      </a:r>
                      <a:r>
                        <a:rPr lang="en-US" sz="900" u="none" strike="noStrike" dirty="0">
                          <a:effectLst/>
                        </a:rPr>
                        <a:t> 5 RTS Natural I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6339074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87043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err="1">
                          <a:effectLst/>
                        </a:rPr>
                        <a:t>Situo</a:t>
                      </a:r>
                      <a:r>
                        <a:rPr lang="en-US" sz="900" u="none" strike="noStrike" dirty="0">
                          <a:effectLst/>
                        </a:rPr>
                        <a:t> 5 RTS Arctic I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9977703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81160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u="none" strike="noStrike" dirty="0">
                          <a:effectLst/>
                        </a:rPr>
                        <a:t>Situo 1 Var RTS Iron II</a:t>
                      </a:r>
                      <a:endParaRPr lang="sv-SE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81160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err="1">
                          <a:effectLst/>
                        </a:rPr>
                        <a:t>Situo</a:t>
                      </a:r>
                      <a:r>
                        <a:rPr lang="en-US" sz="900" u="none" strike="noStrike" dirty="0">
                          <a:effectLst/>
                        </a:rPr>
                        <a:t> 1 Var RTS Pure I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784843"/>
                  </a:ext>
                </a:extLst>
              </a:tr>
              <a:tr h="2730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81161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u="none" strike="noStrike" dirty="0">
                          <a:effectLst/>
                        </a:rPr>
                        <a:t>Situo 5 Var RTS Iron II</a:t>
                      </a:r>
                      <a:endParaRPr lang="sv-SE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8116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err="1">
                          <a:effectLst/>
                        </a:rPr>
                        <a:t>Situo</a:t>
                      </a:r>
                      <a:r>
                        <a:rPr lang="en-US" sz="900" u="none" strike="noStrike" dirty="0">
                          <a:effectLst/>
                        </a:rPr>
                        <a:t> 5 Var RTS Pure I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178" marR="8178" marT="817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54829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6067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toC">
  <a:themeElements>
    <a:clrScheme name="Personnalisé 6">
      <a:dk1>
        <a:srgbClr val="24485A"/>
      </a:dk1>
      <a:lt1>
        <a:srgbClr val="FFFFFF"/>
      </a:lt1>
      <a:dk2>
        <a:srgbClr val="7C8D9B"/>
      </a:dk2>
      <a:lt2>
        <a:srgbClr val="FFFFFF"/>
      </a:lt2>
      <a:accent1>
        <a:srgbClr val="24485A"/>
      </a:accent1>
      <a:accent2>
        <a:srgbClr val="FAB800"/>
      </a:accent2>
      <a:accent3>
        <a:srgbClr val="CCC4BD"/>
      </a:accent3>
      <a:accent4>
        <a:srgbClr val="C3D2D6"/>
      </a:accent4>
      <a:accent5>
        <a:srgbClr val="FEEDBF"/>
      </a:accent5>
      <a:accent6>
        <a:srgbClr val="FBFAF8"/>
      </a:accent6>
      <a:hlink>
        <a:srgbClr val="DF94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C.pptx" id="{D1DA1EF0-C2B0-DC4A-8A06-5F543B933898}" vid="{7BBDF827-0EBF-064E-B380-261900BE761E}"/>
    </a:ext>
  </a:extLst>
</a:theme>
</file>

<file path=ppt/theme/theme2.xml><?xml version="1.0" encoding="utf-8"?>
<a:theme xmlns:a="http://schemas.openxmlformats.org/drawingml/2006/main" name="2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3.xml><?xml version="1.0" encoding="utf-8"?>
<a:theme xmlns:a="http://schemas.openxmlformats.org/drawingml/2006/main" name="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4.xml><?xml version="1.0" encoding="utf-8"?>
<a:theme xmlns:a="http://schemas.openxmlformats.org/drawingml/2006/main" name="1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79f8234-1b3a-43c6-877d-00555ce149dc">
      <UserInfo>
        <DisplayName>HRNCIR, Jan</DisplayName>
        <AccountId>8385</AccountId>
        <AccountType/>
      </UserInfo>
    </SharedWithUsers>
    <SomfyDocumentTypeTaxHTField xmlns="20434CEC-F224-445D-89C8-DA7D5882575D">
      <Terms xmlns="http://schemas.microsoft.com/office/infopath/2007/PartnerControls"/>
    </SomfyDocumentTypeTaxHTField>
    <SomfyTagsTaxHTField xmlns="20434CEC-F224-445D-89C8-DA7D5882575D">
      <Terms xmlns="http://schemas.microsoft.com/office/infopath/2007/PartnerControls"/>
    </SomfyTagsTaxHTField>
    <TaxCatchAll xmlns="579f8234-1b3a-43c6-877d-00555ce149dc" xsi:nil="true"/>
    <lcf76f155ced4ddcb4097134ff3c332f xmlns="3e1aacae-9e28-4cb9-a711-7bf6fdad1110">
      <Terms xmlns="http://schemas.microsoft.com/office/infopath/2007/PartnerControls"/>
    </lcf76f155ced4ddcb4097134ff3c332f>
    <SomfySite xmlns="579f8234-1b3a-43c6-877d-00555ce149d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198A4C9DBE41DC9E4CEB39D1D3D20B00DB39C438DF6EDA418DF2A590C03B882E" ma:contentTypeVersion="16" ma:contentTypeDescription="Create a new document." ma:contentTypeScope="" ma:versionID="14d251fc83959c107b34af4afbcdf626">
  <xsd:schema xmlns:xsd="http://www.w3.org/2001/XMLSchema" xmlns:xs="http://www.w3.org/2001/XMLSchema" xmlns:p="http://schemas.microsoft.com/office/2006/metadata/properties" xmlns:ns2="20434CEC-F224-445D-89C8-DA7D5882575D" xmlns:ns3="579f8234-1b3a-43c6-877d-00555ce149dc" xmlns:ns4="3e1aacae-9e28-4cb9-a711-7bf6fdad1110" targetNamespace="http://schemas.microsoft.com/office/2006/metadata/properties" ma:root="true" ma:fieldsID="e3cccb47932b71a2dd86f71beb38e40a" ns2:_="" ns3:_="" ns4:_="">
    <xsd:import namespace="20434CEC-F224-445D-89C8-DA7D5882575D"/>
    <xsd:import namespace="579f8234-1b3a-43c6-877d-00555ce149dc"/>
    <xsd:import namespace="3e1aacae-9e28-4cb9-a711-7bf6fdad1110"/>
    <xsd:element name="properties">
      <xsd:complexType>
        <xsd:sequence>
          <xsd:element name="documentManagement">
            <xsd:complexType>
              <xsd:all>
                <xsd:element ref="ns2:SomfyTagsTaxHTField" minOccurs="0"/>
                <xsd:element ref="ns2:SomfyDocumentTypeTaxHTField" minOccurs="0"/>
                <xsd:element ref="ns3:SomfySite" minOccurs="0"/>
                <xsd:element ref="ns3:TaxCatchAll" minOccurs="0"/>
                <xsd:element ref="ns4:MediaServiceMetadata" minOccurs="0"/>
                <xsd:element ref="ns4:MediaServiceFastMetadata" minOccurs="0"/>
                <xsd:element ref="ns3:SharedWithUsers" minOccurs="0"/>
                <xsd:element ref="ns3:SharedWithDetails" minOccurs="0"/>
                <xsd:element ref="ns4:lcf76f155ced4ddcb4097134ff3c332f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LengthInSeconds" minOccurs="0"/>
                <xsd:element ref="ns4:MediaServiceObjectDetectorVersions" minOccurs="0"/>
                <xsd:element ref="ns4:MediaServiceSearchProperties" minOccurs="0"/>
                <xsd:element ref="ns4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434CEC-F224-445D-89C8-DA7D5882575D" elementFormDefault="qualified">
    <xsd:import namespace="http://schemas.microsoft.com/office/2006/documentManagement/types"/>
    <xsd:import namespace="http://schemas.microsoft.com/office/infopath/2007/PartnerControls"/>
    <xsd:element name="SomfyTagsTaxHTField" ma:index="8" nillable="true" ma:taxonomy="true" ma:internalName="SomfyTagsTaxHTField" ma:taxonomyFieldName="SomfyTags" ma:displayName="Tags" ma:fieldId="{8b81c89c-6d4b-4a9e-bfe4-626fe045d6df}" ma:taxonomyMulti="true" ma:sspId="4560a912-820e-4fa3-9fe9-00a4a9064378" ma:termSetId="3ac6d041-c917-422f-9282-66ea33c5c43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SomfyDocumentTypeTaxHTField" ma:index="10" nillable="true" ma:taxonomy="true" ma:internalName="SomfyDocumentTypeTaxHTField" ma:taxonomyFieldName="SomfyDocumentType" ma:displayName="Document Type" ma:fieldId="{809ca003-ebd1-4854-a594-2d312d6d6983}" ma:sspId="4560a912-820e-4fa3-9fe9-00a4a9064378" ma:termSetId="8b5d468f-06c9-4f1d-a6b4-0e5e089ccb37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9f8234-1b3a-43c6-877d-00555ce149dc" elementFormDefault="qualified">
    <xsd:import namespace="http://schemas.microsoft.com/office/2006/documentManagement/types"/>
    <xsd:import namespace="http://schemas.microsoft.com/office/infopath/2007/PartnerControls"/>
    <xsd:element name="SomfySite" ma:index="12" nillable="true" ma:displayName="Site" ma:hidden="true" ma:internalName="SomfySite">
      <xsd:simpleType>
        <xsd:restriction base="dms:Text">
          <xsd:maxLength value="255"/>
        </xsd:restriction>
      </xsd:simpleType>
    </xsd:element>
    <xsd:element name="TaxCatchAll" ma:index="13" nillable="true" ma:displayName="Taxonomy Catch All Column" ma:description="" ma:hidden="true" ma:list="{4b62be17-7237-4d73-8643-1aaf087bd901}" ma:internalName="TaxCatchAll" ma:showField="CatchAllData" ma:web="579f8234-1b3a-43c6-877d-00555ce149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aacae-9e28-4cb9-a711-7bf6fdad11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560a912-820e-4fa3-9fe9-00a4a90643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0CC633-74FE-419D-929C-9FEFF34276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2F3808B-8BBE-4A71-A001-A90A7F9A0D1E}">
  <ds:schemaRefs>
    <ds:schemaRef ds:uri="20434CEC-F224-445D-89C8-DA7D5882575D"/>
    <ds:schemaRef ds:uri="3e1aacae-9e28-4cb9-a711-7bf6fdad1110"/>
    <ds:schemaRef ds:uri="579f8234-1b3a-43c6-877d-00555ce149dc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0EEFC37-0C5B-428C-9C4E-897683D9A0C1}">
  <ds:schemaRefs>
    <ds:schemaRef ds:uri="20434CEC-F224-445D-89C8-DA7D5882575D"/>
    <ds:schemaRef ds:uri="3e1aacae-9e28-4cb9-a711-7bf6fdad1110"/>
    <ds:schemaRef ds:uri="579f8234-1b3a-43c6-877d-00555ce149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 Office</Template>
  <TotalTime>159</TotalTime>
  <Words>280</Words>
  <Application>Microsoft Office PowerPoint</Application>
  <PresentationFormat>Widescreen</PresentationFormat>
  <Paragraphs>65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6" baseType="lpstr">
      <vt:lpstr>Apple Symbols</vt:lpstr>
      <vt:lpstr>Aptos Narrow</vt:lpstr>
      <vt:lpstr>Arial</vt:lpstr>
      <vt:lpstr>Arial Narrow</vt:lpstr>
      <vt:lpstr>Calibri</vt:lpstr>
      <vt:lpstr>Somfy Sans</vt:lpstr>
      <vt:lpstr>Somfy Sans ExtraLight</vt:lpstr>
      <vt:lpstr>Somfy Sans Light</vt:lpstr>
      <vt:lpstr>BtoC</vt:lpstr>
      <vt:lpstr>2_BtoB</vt:lpstr>
      <vt:lpstr>BtoB</vt:lpstr>
      <vt:lpstr>1_BtoB</vt:lpstr>
      <vt:lpstr>think-cell Slide</vt:lpstr>
      <vt:lpstr> Situo II io &amp; RTS  range simplification</vt:lpstr>
      <vt:lpstr>Situo II io &amp; RTS coloured versions phase ou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 la présentation  en 3 lignes</dc:title>
  <dc:creator>Ferry, Joanna (PAR-FUB)</dc:creator>
  <cp:lastModifiedBy>HRNCIR, Jan</cp:lastModifiedBy>
  <cp:revision>1</cp:revision>
  <dcterms:created xsi:type="dcterms:W3CDTF">2022-05-02T10:02:42Z</dcterms:created>
  <dcterms:modified xsi:type="dcterms:W3CDTF">2025-06-27T11:1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fcb221a-6e97-4d92-b656-ecf531a71c86_Enabled">
    <vt:lpwstr>true</vt:lpwstr>
  </property>
  <property fmtid="{D5CDD505-2E9C-101B-9397-08002B2CF9AE}" pid="3" name="MSIP_Label_afcb221a-6e97-4d92-b656-ecf531a71c86_SetDate">
    <vt:lpwstr>2022-11-18T09:51:33Z</vt:lpwstr>
  </property>
  <property fmtid="{D5CDD505-2E9C-101B-9397-08002B2CF9AE}" pid="4" name="MSIP_Label_afcb221a-6e97-4d92-b656-ecf531a71c86_Method">
    <vt:lpwstr>Standard</vt:lpwstr>
  </property>
  <property fmtid="{D5CDD505-2E9C-101B-9397-08002B2CF9AE}" pid="5" name="MSIP_Label_afcb221a-6e97-4d92-b656-ecf531a71c86_Name">
    <vt:lpwstr>General</vt:lpwstr>
  </property>
  <property fmtid="{D5CDD505-2E9C-101B-9397-08002B2CF9AE}" pid="6" name="MSIP_Label_afcb221a-6e97-4d92-b656-ecf531a71c86_SiteId">
    <vt:lpwstr>6f2633ea-c60d-4a07-be1c-b5cd19f27133</vt:lpwstr>
  </property>
  <property fmtid="{D5CDD505-2E9C-101B-9397-08002B2CF9AE}" pid="7" name="MSIP_Label_afcb221a-6e97-4d92-b656-ecf531a71c86_ActionId">
    <vt:lpwstr>a5b01d10-b8c9-409f-8729-884a06ec42b7</vt:lpwstr>
  </property>
  <property fmtid="{D5CDD505-2E9C-101B-9397-08002B2CF9AE}" pid="8" name="MSIP_Label_afcb221a-6e97-4d92-b656-ecf531a71c86_ContentBits">
    <vt:lpwstr>0</vt:lpwstr>
  </property>
  <property fmtid="{D5CDD505-2E9C-101B-9397-08002B2CF9AE}" pid="9" name="ContentTypeId">
    <vt:lpwstr>0x010100E9198A4C9DBE41DC9E4CEB39D1D3D20B00DB39C438DF6EDA418DF2A590C03B882E</vt:lpwstr>
  </property>
  <property fmtid="{D5CDD505-2E9C-101B-9397-08002B2CF9AE}" pid="10" name="MediaServiceImageTags">
    <vt:lpwstr/>
  </property>
  <property fmtid="{D5CDD505-2E9C-101B-9397-08002B2CF9AE}" pid="11" name="SomfyDocumentType">
    <vt:lpwstr/>
  </property>
  <property fmtid="{D5CDD505-2E9C-101B-9397-08002B2CF9AE}" pid="12" name="SomfyTags">
    <vt:lpwstr/>
  </property>
</Properties>
</file>